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92" r:id="rId1"/>
  </p:sldMasterIdLst>
  <p:notesMasterIdLst>
    <p:notesMasterId r:id="rId3"/>
  </p:notesMasterIdLst>
  <p:sldIdLst>
    <p:sldId id="459" r:id="rId2"/>
  </p:sldIdLst>
  <p:sldSz cx="12192000" cy="6858000"/>
  <p:notesSz cx="6797675" cy="9926638"/>
  <p:custDataLst>
    <p:tags r:id="rId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4C2EB17-D588-41C0-8F00-4B6916FC57BE}">
          <p14:sldIdLst>
            <p14:sldId id="459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618" userDrawn="1">
          <p15:clr>
            <a:srgbClr val="A4A3A4"/>
          </p15:clr>
        </p15:guide>
        <p15:guide id="2" pos="234" userDrawn="1">
          <p15:clr>
            <a:srgbClr val="A4A3A4"/>
          </p15:clr>
        </p15:guide>
        <p15:guide id="3" pos="740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еева Татьяна Александровна" initials="АТА" lastIdx="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52DC"/>
    <a:srgbClr val="84E0F7"/>
    <a:srgbClr val="FFCF4D"/>
    <a:srgbClr val="9165E8"/>
    <a:srgbClr val="191919"/>
    <a:srgbClr val="8670F2"/>
    <a:srgbClr val="866FF2"/>
    <a:srgbClr val="FF6464"/>
    <a:srgbClr val="FFD633"/>
    <a:srgbClr val="E5D8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26" autoAdjust="0"/>
    <p:restoredTop sz="96395" autoAdjust="0"/>
  </p:normalViewPr>
  <p:slideViewPr>
    <p:cSldViewPr snapToGrid="0">
      <p:cViewPr varScale="1">
        <p:scale>
          <a:sx n="121" d="100"/>
          <a:sy n="121" d="100"/>
        </p:scale>
        <p:origin x="-402" y="-12"/>
      </p:cViewPr>
      <p:guideLst>
        <p:guide orient="horz" pos="618"/>
        <p:guide pos="234"/>
        <p:guide pos="740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tags" Target="tags/tag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3F9436-A9B8-4B98-BD44-CDF915E50313}" type="datetimeFigureOut">
              <a:rPr lang="ru-RU" smtClean="0"/>
              <a:t>18.07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DEDC38-8EB6-419F-924F-2F29B00D95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568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D8F54A-9430-4949-B95F-C543C1DE53F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3768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8.07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39281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8.07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34160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8.07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31895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8.07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59153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8.07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0687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8.07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54115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8.07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89977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8.07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77224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8.07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87447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8.07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1158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8.07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94417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BDA1A0-FDD0-4C35-BA76-FD41A7A10CAC}" type="datetimeFigureOut">
              <a:rPr lang="ru-RU" smtClean="0"/>
              <a:t>18.07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6" name="Слайд think-cell" r:id="rId15" imgW="347" imgH="348" progId="TCLayout.ActiveDocument.1">
                  <p:embed/>
                </p:oleObj>
              </mc:Choice>
              <mc:Fallback>
                <p:oleObj name="Слайд think-cell" r:id="rId15" imgW="347" imgH="348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34517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3" r:id="rId1"/>
    <p:sldLayoutId id="2147484294" r:id="rId2"/>
    <p:sldLayoutId id="2147484295" r:id="rId3"/>
    <p:sldLayoutId id="2147484296" r:id="rId4"/>
    <p:sldLayoutId id="2147484297" r:id="rId5"/>
    <p:sldLayoutId id="2147484298" r:id="rId6"/>
    <p:sldLayoutId id="2147484299" r:id="rId7"/>
    <p:sldLayoutId id="2147484300" r:id="rId8"/>
    <p:sldLayoutId id="2147484301" r:id="rId9"/>
    <p:sldLayoutId id="2147484302" r:id="rId10"/>
    <p:sldLayoutId id="214748430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-20848" y="-24939"/>
            <a:ext cx="12212848" cy="153427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9" name="Прямоугольник 128"/>
          <p:cNvSpPr/>
          <p:nvPr/>
        </p:nvSpPr>
        <p:spPr>
          <a:xfrm>
            <a:off x="4897930" y="847898"/>
            <a:ext cx="3317283" cy="483013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22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/>
          <p:cNvSpPr/>
          <p:nvPr/>
        </p:nvSpPr>
        <p:spPr>
          <a:xfrm>
            <a:off x="362849" y="1712150"/>
            <a:ext cx="5449749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Вступить в Реестр промышленных компаний: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371475" y="768600"/>
            <a:ext cx="1035569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Что нужно сделать </a:t>
            </a:r>
            <a:r>
              <a:rPr kumimoji="0" lang="ru-RU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ямо сейчас </a:t>
            </a:r>
            <a:r>
              <a:rPr kumimoji="0" lang="ru-RU" sz="3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?</a:t>
            </a:r>
            <a:endParaRPr kumimoji="0" lang="ru-RU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887944" y="2701637"/>
            <a:ext cx="4698209" cy="30162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Зайти на МСП.РФ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Авторизоватьс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с помощью учетной записи на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Госуслугах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В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меню «Сервисы» выбрать «Производственная кооперация и сбыт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»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дать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заявку на включение в Реестр промышленных компаний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+ А еще можно найт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 наименованию продукции/коду ОКПД2 нужного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ставщика в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своем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регионе!</a:t>
            </a:r>
            <a:endParaRPr kumimoji="0" lang="ru-RU" sz="1000" b="0" i="0" u="none" strike="noStrike" kern="1200" cap="none" spc="-6" normalizeH="0" baseline="0" noProof="0" dirty="0">
              <a:ln>
                <a:noFill/>
              </a:ln>
              <a:solidFill>
                <a:srgbClr val="FF6464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0" name="Рисунок 4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3243" y="6131654"/>
            <a:ext cx="2074411" cy="625435"/>
          </a:xfrm>
          <a:prstGeom prst="rect">
            <a:avLst/>
          </a:prstGeom>
        </p:spPr>
      </p:pic>
      <p:grpSp>
        <p:nvGrpSpPr>
          <p:cNvPr id="7" name="Группа 6"/>
          <p:cNvGrpSpPr/>
          <p:nvPr/>
        </p:nvGrpSpPr>
        <p:grpSpPr>
          <a:xfrm>
            <a:off x="357487" y="2661602"/>
            <a:ext cx="383023" cy="383023"/>
            <a:chOff x="2301447" y="2329448"/>
            <a:chExt cx="383023" cy="383023"/>
          </a:xfrm>
        </p:grpSpPr>
        <p:sp>
          <p:nvSpPr>
            <p:cNvPr id="6" name="Овал 5"/>
            <p:cNvSpPr/>
            <p:nvPr/>
          </p:nvSpPr>
          <p:spPr>
            <a:xfrm>
              <a:off x="2301447" y="2329448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2301447" y="2371208"/>
              <a:ext cx="344324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-10" normalizeH="0" baseline="0" noProof="0" dirty="0" smtClean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1</a:t>
              </a:r>
              <a:endParaRPr kumimoji="0" lang="ru-RU" sz="1800" b="0" i="0" u="none" strike="noStrike" kern="1200" cap="none" spc="-1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92" name="Группа 91"/>
          <p:cNvGrpSpPr/>
          <p:nvPr/>
        </p:nvGrpSpPr>
        <p:grpSpPr>
          <a:xfrm>
            <a:off x="357487" y="3783014"/>
            <a:ext cx="383023" cy="383023"/>
            <a:chOff x="2301447" y="2329448"/>
            <a:chExt cx="383023" cy="383023"/>
          </a:xfrm>
        </p:grpSpPr>
        <p:sp>
          <p:nvSpPr>
            <p:cNvPr id="93" name="Овал 92"/>
            <p:cNvSpPr/>
            <p:nvPr/>
          </p:nvSpPr>
          <p:spPr>
            <a:xfrm>
              <a:off x="2301447" y="2329448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Прямоугольник 93"/>
            <p:cNvSpPr/>
            <p:nvPr/>
          </p:nvSpPr>
          <p:spPr>
            <a:xfrm>
              <a:off x="2301447" y="2371208"/>
              <a:ext cx="344324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-10" normalizeH="0" baseline="0" noProof="0" dirty="0" smtClean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3</a:t>
              </a:r>
              <a:endParaRPr kumimoji="0" lang="ru-RU" sz="1800" b="0" i="0" u="none" strike="noStrike" kern="1200" cap="none" spc="-1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119" name="Группа 118"/>
          <p:cNvGrpSpPr/>
          <p:nvPr/>
        </p:nvGrpSpPr>
        <p:grpSpPr>
          <a:xfrm>
            <a:off x="357487" y="3157324"/>
            <a:ext cx="383023" cy="383023"/>
            <a:chOff x="2301447" y="2329448"/>
            <a:chExt cx="383023" cy="383023"/>
          </a:xfrm>
        </p:grpSpPr>
        <p:sp>
          <p:nvSpPr>
            <p:cNvPr id="120" name="Овал 119"/>
            <p:cNvSpPr/>
            <p:nvPr/>
          </p:nvSpPr>
          <p:spPr>
            <a:xfrm>
              <a:off x="2301447" y="2329448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Прямоугольник 120"/>
            <p:cNvSpPr/>
            <p:nvPr/>
          </p:nvSpPr>
          <p:spPr>
            <a:xfrm>
              <a:off x="2301447" y="2371208"/>
              <a:ext cx="344324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-1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2</a:t>
              </a:r>
            </a:p>
          </p:txBody>
        </p:sp>
      </p:grpSp>
      <p:grpSp>
        <p:nvGrpSpPr>
          <p:cNvPr id="122" name="Группа 121"/>
          <p:cNvGrpSpPr/>
          <p:nvPr/>
        </p:nvGrpSpPr>
        <p:grpSpPr>
          <a:xfrm>
            <a:off x="357487" y="4415254"/>
            <a:ext cx="383023" cy="383023"/>
            <a:chOff x="2301447" y="2329448"/>
            <a:chExt cx="383023" cy="383023"/>
          </a:xfrm>
        </p:grpSpPr>
        <p:sp>
          <p:nvSpPr>
            <p:cNvPr id="123" name="Овал 122"/>
            <p:cNvSpPr/>
            <p:nvPr/>
          </p:nvSpPr>
          <p:spPr>
            <a:xfrm>
              <a:off x="2301447" y="2329448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Прямоугольник 123"/>
            <p:cNvSpPr/>
            <p:nvPr/>
          </p:nvSpPr>
          <p:spPr>
            <a:xfrm>
              <a:off x="2301447" y="2371208"/>
              <a:ext cx="344324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-10" normalizeH="0" baseline="0" noProof="0" dirty="0" smtClean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4</a:t>
              </a:r>
              <a:endParaRPr kumimoji="0" lang="ru-RU" sz="1800" b="0" i="0" u="none" strike="noStrike" kern="1200" cap="none" spc="-1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endParaRPr>
            </a:p>
          </p:txBody>
        </p:sp>
      </p:grpSp>
      <p:sp>
        <p:nvSpPr>
          <p:cNvPr id="35" name="Прямоугольник 34"/>
          <p:cNvSpPr/>
          <p:nvPr/>
        </p:nvSpPr>
        <p:spPr>
          <a:xfrm>
            <a:off x="6217780" y="1706477"/>
            <a:ext cx="5810736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ткликнуться на потребности крупных производителей: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6748237" y="2741672"/>
            <a:ext cx="4698209" cy="25853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Зайти на МСП.РФ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Авторизоватьс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с помощью учетной записи на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Госуслугах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В меню «Сервисы» выбрать «Производственная кооперация и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сбыт» и найти подходящую потребность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 наименованию товара, коду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ОКПД2 ил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региону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ставк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Откликнуться на интересующий запрос и заполнить анкету поставщика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6217780" y="2701637"/>
            <a:ext cx="383023" cy="383023"/>
            <a:chOff x="2301447" y="2329448"/>
            <a:chExt cx="383023" cy="383023"/>
          </a:xfrm>
        </p:grpSpPr>
        <p:sp>
          <p:nvSpPr>
            <p:cNvPr id="41" name="Овал 40"/>
            <p:cNvSpPr/>
            <p:nvPr/>
          </p:nvSpPr>
          <p:spPr>
            <a:xfrm>
              <a:off x="2301447" y="2329448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2301447" y="2371208"/>
              <a:ext cx="344324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-10" normalizeH="0" baseline="0" noProof="0" dirty="0" smtClean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1</a:t>
              </a:r>
              <a:endParaRPr kumimoji="0" lang="ru-RU" sz="1800" b="0" i="0" u="none" strike="noStrike" kern="1200" cap="none" spc="-1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43" name="Группа 42"/>
          <p:cNvGrpSpPr/>
          <p:nvPr/>
        </p:nvGrpSpPr>
        <p:grpSpPr>
          <a:xfrm>
            <a:off x="6217780" y="4055803"/>
            <a:ext cx="383023" cy="383023"/>
            <a:chOff x="2301447" y="2329448"/>
            <a:chExt cx="383023" cy="383023"/>
          </a:xfrm>
        </p:grpSpPr>
        <p:sp>
          <p:nvSpPr>
            <p:cNvPr id="44" name="Овал 43"/>
            <p:cNvSpPr/>
            <p:nvPr/>
          </p:nvSpPr>
          <p:spPr>
            <a:xfrm>
              <a:off x="2301447" y="2329448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2301447" y="2371208"/>
              <a:ext cx="344324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-10" normalizeH="0" baseline="0" noProof="0" dirty="0" smtClean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3</a:t>
              </a:r>
              <a:endParaRPr kumimoji="0" lang="ru-RU" sz="1800" b="0" i="0" u="none" strike="noStrike" kern="1200" cap="none" spc="-1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46" name="Группа 45"/>
          <p:cNvGrpSpPr/>
          <p:nvPr/>
        </p:nvGrpSpPr>
        <p:grpSpPr>
          <a:xfrm>
            <a:off x="6217780" y="3197359"/>
            <a:ext cx="383023" cy="383023"/>
            <a:chOff x="2301447" y="2329448"/>
            <a:chExt cx="383023" cy="383023"/>
          </a:xfrm>
        </p:grpSpPr>
        <p:sp>
          <p:nvSpPr>
            <p:cNvPr id="47" name="Овал 46"/>
            <p:cNvSpPr/>
            <p:nvPr/>
          </p:nvSpPr>
          <p:spPr>
            <a:xfrm>
              <a:off x="2301447" y="2329448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2301447" y="2371208"/>
              <a:ext cx="344324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-1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2</a:t>
              </a: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6217780" y="4887552"/>
            <a:ext cx="383023" cy="383023"/>
            <a:chOff x="2301447" y="2329448"/>
            <a:chExt cx="383023" cy="383023"/>
          </a:xfrm>
        </p:grpSpPr>
        <p:sp>
          <p:nvSpPr>
            <p:cNvPr id="51" name="Овал 50"/>
            <p:cNvSpPr/>
            <p:nvPr/>
          </p:nvSpPr>
          <p:spPr>
            <a:xfrm>
              <a:off x="2301447" y="2329448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2301447" y="2371208"/>
              <a:ext cx="344324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-10" normalizeH="0" baseline="0" noProof="0" dirty="0" smtClean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4</a:t>
              </a:r>
              <a:endParaRPr kumimoji="0" lang="ru-RU" sz="1800" b="0" i="0" u="none" strike="noStrike" kern="1200" cap="none" spc="-1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endParaRPr>
            </a:p>
          </p:txBody>
        </p:sp>
      </p:grpSp>
      <p:pic>
        <p:nvPicPr>
          <p:cNvPr id="37" name="Рисунок 3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15213" y="5501654"/>
            <a:ext cx="1266517" cy="1260000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9479" y="288376"/>
            <a:ext cx="2111389" cy="409703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8977675" y="287000"/>
            <a:ext cx="798190" cy="412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244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Другая 2">
      <a:dk1>
        <a:srgbClr val="191919"/>
      </a:dk1>
      <a:lt1>
        <a:sysClr val="window" lastClr="FFFFFF"/>
      </a:lt1>
      <a:dk2>
        <a:srgbClr val="006EF0"/>
      </a:dk2>
      <a:lt2>
        <a:srgbClr val="E6D6C7"/>
      </a:lt2>
      <a:accent1>
        <a:srgbClr val="006EF0"/>
      </a:accent1>
      <a:accent2>
        <a:srgbClr val="FF6464"/>
      </a:accent2>
      <a:accent3>
        <a:srgbClr val="FFFFFF"/>
      </a:accent3>
      <a:accent4>
        <a:srgbClr val="191919"/>
      </a:accent4>
      <a:accent5>
        <a:srgbClr val="FFB464"/>
      </a:accent5>
      <a:accent6>
        <a:srgbClr val="7DCDA0"/>
      </a:accent6>
      <a:hlink>
        <a:srgbClr val="006EF0"/>
      </a:hlink>
      <a:folHlink>
        <a:srgbClr val="7F7F7F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83</TotalTime>
  <Words>115</Words>
  <Application>Microsoft Office PowerPoint</Application>
  <PresentationFormat>Произвольный</PresentationFormat>
  <Paragraphs>28</Paragraphs>
  <Slides>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3" baseType="lpstr">
      <vt:lpstr>1_Тема Office</vt:lpstr>
      <vt:lpstr>Слайд think-cell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стапенков Максим Александрович</dc:creator>
  <cp:lastModifiedBy>Данилова Ирина Ураловна</cp:lastModifiedBy>
  <cp:revision>810</cp:revision>
  <cp:lastPrinted>2022-05-17T14:56:52Z</cp:lastPrinted>
  <dcterms:created xsi:type="dcterms:W3CDTF">2022-02-09T17:47:39Z</dcterms:created>
  <dcterms:modified xsi:type="dcterms:W3CDTF">2023-07-18T08:56:37Z</dcterms:modified>
</cp:coreProperties>
</file>